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1"/>
  </p:notesMasterIdLst>
  <p:sldIdLst>
    <p:sldId id="256" r:id="rId2"/>
    <p:sldId id="353" r:id="rId3"/>
    <p:sldId id="354" r:id="rId4"/>
    <p:sldId id="318" r:id="rId5"/>
    <p:sldId id="331" r:id="rId6"/>
    <p:sldId id="333" r:id="rId7"/>
    <p:sldId id="355" r:id="rId8"/>
    <p:sldId id="334" r:id="rId9"/>
    <p:sldId id="344" r:id="rId10"/>
    <p:sldId id="343" r:id="rId11"/>
    <p:sldId id="352" r:id="rId12"/>
    <p:sldId id="340" r:id="rId13"/>
    <p:sldId id="341" r:id="rId14"/>
    <p:sldId id="351" r:id="rId15"/>
    <p:sldId id="342" r:id="rId16"/>
    <p:sldId id="329" r:id="rId17"/>
    <p:sldId id="332" r:id="rId18"/>
    <p:sldId id="336" r:id="rId19"/>
    <p:sldId id="337" r:id="rId20"/>
  </p:sldIdLst>
  <p:sldSz cx="9144000" cy="5143500" type="screen16x9"/>
  <p:notesSz cx="6797675" cy="9928225"/>
  <p:custDataLst>
    <p:tags r:id="rId22"/>
  </p:custDataLst>
  <p:defaultTextStyle>
    <a:defPPr lvl="0">
      <a:defRPr lang="ru-RU"/>
    </a:defPPr>
    <a:lvl1pPr marL="0" lv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lvl="1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lvl="2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lvl="3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lvl="4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lvl="5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lvl="6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lvl="7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lvl="8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5239" userDrawn="1">
          <p15:clr>
            <a:srgbClr val="A4A3A4"/>
          </p15:clr>
        </p15:guide>
        <p15:guide id="2" orient="horz" pos="1688" userDrawn="1">
          <p15:clr>
            <a:srgbClr val="A4A3A4"/>
          </p15:clr>
        </p15:guide>
        <p15:guide id="3" orient="horz" pos="2278" userDrawn="1">
          <p15:clr>
            <a:srgbClr val="A4A3A4"/>
          </p15:clr>
        </p15:guide>
        <p15:guide id="4" pos="4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рхиреева Александра Андреевна" initials="АА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3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8"/>
  </p:normalViewPr>
  <p:slideViewPr>
    <p:cSldViewPr snapToGrid="0">
      <p:cViewPr>
        <p:scale>
          <a:sx n="152" d="100"/>
          <a:sy n="152" d="100"/>
        </p:scale>
        <p:origin x="-360" y="30"/>
      </p:cViewPr>
      <p:guideLst>
        <p:guide orient="horz" pos="1688"/>
        <p:guide orient="horz" pos="2278"/>
        <p:guide pos="5239"/>
        <p:guide pos="4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/>
          <a:lstStyle>
            <a:lvl1pPr algn="r">
              <a:defRPr sz="1200"/>
            </a:lvl1pPr>
          </a:lstStyle>
          <a:p>
            <a:fld id="{9C7A0DF1-3CBA-4C80-86DA-99BC126E4835}" type="datetimeFigureOut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2" tIns="45501" rIns="91002" bIns="4550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002" tIns="45501" rIns="91002" bIns="4550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 anchor="b"/>
          <a:lstStyle>
            <a:lvl1pPr algn="r">
              <a:defRPr sz="1200"/>
            </a:lvl1pPr>
          </a:lstStyle>
          <a:p>
            <a:fld id="{F901B7E3-A14E-4358-97FC-6F12771D96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663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71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67733" y="0"/>
            <a:ext cx="9211733" cy="51435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1896" y="1117030"/>
            <a:ext cx="4203030" cy="1288045"/>
          </a:xfrm>
        </p:spPr>
        <p:txBody>
          <a:bodyPr anchor="ctr"/>
          <a:lstStyle>
            <a:lvl1pPr algn="ctr"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318549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14232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8448" y="224774"/>
            <a:ext cx="5029199" cy="346249"/>
          </a:xfrm>
          <a:prstGeom prst="rect">
            <a:avLst/>
          </a:prstGeom>
          <a:noFill/>
        </p:spPr>
        <p:txBody>
          <a:bodyPr wrap="square" lIns="0" tIns="34290" rIns="0" bIns="3429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962" y="102393"/>
            <a:ext cx="2777791" cy="34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ft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lang="ru-RU" sz="18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5.xml"/><Relationship Id="rId7" Type="http://schemas.openxmlformats.org/officeDocument/2006/relationships/image" Target="../media/image2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9.xml"/><Relationship Id="rId7" Type="http://schemas.openxmlformats.org/officeDocument/2006/relationships/image" Target="../media/image2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hyperlink" Target="https://www.gosuslugi.ru/396247/1/info" TargetMode="Externa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invest.mosreg.ru/faq/pomoshch-vo-vzaimodejstvii-s-bankami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hyperlink" Target="https://corpmsp.ru/bankam/programma_stimulir/" TargetMode="Externa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4.xml"/><Relationship Id="rId7" Type="http://schemas.openxmlformats.org/officeDocument/2006/relationships/image" Target="../media/image2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7.xml"/><Relationship Id="rId7" Type="http://schemas.openxmlformats.org/officeDocument/2006/relationships/hyperlink" Target="https://www.nalog.ru/rn77/business-support-2020/subsidy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invest.mosreg.ru/faq/pomoshch-vo-vzaimodejstvii-s-bankami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hyperlink" Target="https://corpmsp.ru/bankam/programma_stimulir/" TargetMode="Externa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hyperlink" Target="https://invest.mosreg.ru/faq/pomoshch-vo-vzaimodejstvii-s-bankami" TargetMode="Externa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invest.mosreg.ru/faq/pomoshch-vo-vzaimodejstvii-s-bankami" TargetMode="Externa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48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8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xmlns="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50825" y="2175712"/>
            <a:ext cx="7340600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2700" algn="l">
              <a:spcBef>
                <a:spcPts val="0"/>
              </a:spcBef>
            </a:pPr>
            <a:r>
              <a:rPr lang="ru-RU" sz="2000" spc="0" dirty="0"/>
              <a:t>О Механизмах предоставления мер поддержки бизнеса</a:t>
            </a:r>
            <a:endParaRPr lang="ru-RU" sz="10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250825" y="3927855"/>
            <a:ext cx="2252312" cy="100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429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12AE035B-BDFD-6B4A-8F34-B874D13958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71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xmlns="" id="{B0256A7A-2BC6-254B-8D09-56EDA9CC27CB}"/>
              </a:ext>
            </a:extLst>
          </p:cNvPr>
          <p:cNvSpPr/>
          <p:nvPr/>
        </p:nvSpPr>
        <p:spPr>
          <a:xfrm>
            <a:off x="1138600" y="3013228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ятиугольник 15">
            <a:extLst>
              <a:ext uri="{FF2B5EF4-FFF2-40B4-BE49-F238E27FC236}">
                <a16:creationId xmlns:a16="http://schemas.microsoft.com/office/drawing/2014/main" xmlns="" id="{8EEBBD03-1CA5-3F43-806C-BBF088678317}"/>
              </a:ext>
            </a:extLst>
          </p:cNvPr>
          <p:cNvSpPr/>
          <p:nvPr/>
        </p:nvSpPr>
        <p:spPr>
          <a:xfrm>
            <a:off x="1125005" y="86567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Льготные займы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956074"/>
              </p:ext>
            </p:extLst>
          </p:nvPr>
        </p:nvGraphicFramePr>
        <p:xfrm>
          <a:off x="1125005" y="865675"/>
          <a:ext cx="6971245" cy="1075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106458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5845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58455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по уплате основного долга до 30 сентября 2020 год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5845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408166"/>
              </p:ext>
            </p:extLst>
          </p:nvPr>
        </p:nvGraphicFramePr>
        <p:xfrm>
          <a:off x="1125006" y="3013798"/>
          <a:ext cx="7009344" cy="1196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9209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15013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2625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54375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ймы до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н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 года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 средней ставке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5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годовых.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2625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13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xmlns="" id="{86DA59AC-FB9F-8E45-BCE2-F04AA2A15B91}"/>
              </a:ext>
            </a:extLst>
          </p:cNvPr>
          <p:cNvSpPr/>
          <p:nvPr/>
        </p:nvSpPr>
        <p:spPr>
          <a:xfrm>
            <a:off x="707927" y="850434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5A2B6BBF-0CCF-8A4E-99B4-77DD20761912}"/>
              </a:ext>
            </a:extLst>
          </p:cNvPr>
          <p:cNvSpPr/>
          <p:nvPr/>
        </p:nvSpPr>
        <p:spPr>
          <a:xfrm>
            <a:off x="701094" y="297748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592D92B0-9AF7-C94E-B50F-C2B5F01CBB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1224528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D4AF3F4D-2F28-D34D-BE63-41D45AB68F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1633933"/>
            <a:ext cx="238591" cy="23859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CCDEE197-CEA6-6544-A0AA-3C45389F2F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3425027"/>
            <a:ext cx="310385" cy="31038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6A36CA4F-B1F4-0D44-85FD-33122B9819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3933026"/>
            <a:ext cx="238591" cy="238591"/>
          </a:xfrm>
          <a:prstGeom prst="rect">
            <a:avLst/>
          </a:prstGeom>
        </p:spPr>
      </p:pic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xmlns="" id="{E4C160C2-791D-2E42-B0EB-8F5775669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219797"/>
              </p:ext>
            </p:extLst>
          </p:nvPr>
        </p:nvGraphicFramePr>
        <p:xfrm>
          <a:off x="1125005" y="2084462"/>
          <a:ext cx="6961720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64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641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5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1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xmlns="" id="{C7C08AF6-4951-7148-B5F0-2D25DD58A7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021036"/>
              </p:ext>
            </p:extLst>
          </p:nvPr>
        </p:nvGraphicFramePr>
        <p:xfrm>
          <a:off x="1125005" y="4305375"/>
          <a:ext cx="6961721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40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145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приор. категорий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4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6205901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E429124B-F99C-1E40-8C01-664D07400A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72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CA3C94A0-F9E9-3647-ACE7-935CC05E1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4A79CE43-28E6-ED4C-846B-A90FDB513E3C}"/>
              </a:ext>
            </a:extLst>
          </p:cNvPr>
          <p:cNvSpPr/>
          <p:nvPr/>
        </p:nvSpPr>
        <p:spPr>
          <a:xfrm>
            <a:off x="684213" y="1170254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029218"/>
              </p:ext>
            </p:extLst>
          </p:nvPr>
        </p:nvGraphicFramePr>
        <p:xfrm>
          <a:off x="684213" y="1149500"/>
          <a:ext cx="8192366" cy="1803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356639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едние и крупные предприятия, реализующие новые промышленные проект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-150 млн руб. под 1-5% годовых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риобретение оборудования или лизинговые проекты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сроком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  <a:endParaRPr lang="ru-RU" sz="12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ку на сайте ФРП МО https://frpmo.ru в разделе «Подача заявки»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136-99-09, info@frpmo.ru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C952EC4-E77F-CD42-BA53-EF97DB2AF9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828" y="1555761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C86691A-8C1E-874C-99B7-54CC63BFFE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711" y="2385124"/>
            <a:ext cx="238591" cy="238591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A42F40EC-A169-8845-B078-76356010CC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025423"/>
              </p:ext>
            </p:extLst>
          </p:nvPr>
        </p:nvGraphicFramePr>
        <p:xfrm>
          <a:off x="684212" y="3468262"/>
          <a:ext cx="8192366" cy="783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49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8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мышленных крупных и средних предприятий МО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 1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4" name="Заголовок 13">
            <a:extLst>
              <a:ext uri="{FF2B5EF4-FFF2-40B4-BE49-F238E27FC236}">
                <a16:creationId xmlns:a16="http://schemas.microsoft.com/office/drawing/2014/main" xmlns="" id="{7F6E283C-8952-D84E-80A7-28116E4C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350" y="249254"/>
            <a:ext cx="5377434" cy="346249"/>
          </a:xfrm>
        </p:spPr>
        <p:txBody>
          <a:bodyPr/>
          <a:lstStyle/>
          <a:p>
            <a:r>
              <a:rPr lang="ru-RU" dirty="0"/>
              <a:t>Займы промышленным предприятиям</a:t>
            </a:r>
          </a:p>
        </p:txBody>
      </p:sp>
    </p:spTree>
    <p:extLst>
      <p:ext uri="{BB962C8B-B14F-4D97-AF65-F5344CB8AC3E}">
        <p14:creationId xmlns:p14="http://schemas.microsoft.com/office/powerpoint/2010/main" val="1233396525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770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A50CF98E-0071-7444-AEAF-2A1FC627D628}"/>
              </a:ext>
            </a:extLst>
          </p:cNvPr>
          <p:cNvSpPr/>
          <p:nvPr/>
        </p:nvSpPr>
        <p:spPr>
          <a:xfrm>
            <a:off x="891823" y="784459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ятиугольник 19">
            <a:extLst>
              <a:ext uri="{FF2B5EF4-FFF2-40B4-BE49-F238E27FC236}">
                <a16:creationId xmlns:a16="http://schemas.microsoft.com/office/drawing/2014/main" xmlns="" id="{65CA68FA-3A38-4D45-A4DF-6AE618076997}"/>
              </a:ext>
            </a:extLst>
          </p:cNvPr>
          <p:cNvSpPr/>
          <p:nvPr/>
        </p:nvSpPr>
        <p:spPr>
          <a:xfrm>
            <a:off x="891823" y="3194284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убсидии субъектам МСП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647655"/>
              </p:ext>
            </p:extLst>
          </p:nvPr>
        </p:nvGraphicFramePr>
        <p:xfrm>
          <a:off x="891823" y="770255"/>
          <a:ext cx="7703138" cy="1604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838351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.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. руб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2.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70% затра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п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рвого взноса на лизинг 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5 млн руб.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43456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665571"/>
              </p:ext>
            </p:extLst>
          </p:nvPr>
        </p:nvGraphicFramePr>
        <p:xfrm>
          <a:off x="877555" y="3185249"/>
          <a:ext cx="7757261" cy="12724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98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879276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58051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производители медицинских масок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0 млн. руб.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FD4F5EE6-6142-BD4C-BB3B-E401973E0A80}"/>
              </a:ext>
            </a:extLst>
          </p:cNvPr>
          <p:cNvSpPr/>
          <p:nvPr/>
        </p:nvSpPr>
        <p:spPr>
          <a:xfrm>
            <a:off x="531813" y="781549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2BBFEEE9-8E5D-8C48-9593-779BC48B3A68}"/>
              </a:ext>
            </a:extLst>
          </p:cNvPr>
          <p:cNvSpPr/>
          <p:nvPr/>
        </p:nvSpPr>
        <p:spPr>
          <a:xfrm>
            <a:off x="511568" y="3174692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813" y="1118555"/>
            <a:ext cx="310385" cy="31038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09" y="1937831"/>
            <a:ext cx="238591" cy="238591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02B291DB-D4E1-8949-A373-A4ADC1F659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904" y="3530338"/>
            <a:ext cx="310385" cy="31038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40FD981B-631A-DE4D-A695-AB672953D1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08" y="4028351"/>
            <a:ext cx="238591" cy="238591"/>
          </a:xfrm>
          <a:prstGeom prst="rect">
            <a:avLst/>
          </a:prstGeom>
        </p:spPr>
      </p:pic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6A679FE2-506D-AE43-B85A-4D75C8025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292341"/>
              </p:ext>
            </p:extLst>
          </p:nvPr>
        </p:nvGraphicFramePr>
        <p:xfrm>
          <a:off x="891822" y="2458270"/>
          <a:ext cx="767094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4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17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38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изводственных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4 12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18.05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FD90A31F-8D52-C942-BF3F-827EBE7CBB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60563"/>
              </p:ext>
            </p:extLst>
          </p:nvPr>
        </p:nvGraphicFramePr>
        <p:xfrm>
          <a:off x="877555" y="4584416"/>
          <a:ext cx="767094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4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17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38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роизвод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 масок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12.05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03998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315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F5E654AE-CA4A-274A-8B8B-F7DE8AC6FCFC}"/>
              </a:ext>
            </a:extLst>
          </p:cNvPr>
          <p:cNvSpPr/>
          <p:nvPr/>
        </p:nvSpPr>
        <p:spPr>
          <a:xfrm>
            <a:off x="842198" y="784459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ятиугольник 16">
            <a:extLst>
              <a:ext uri="{FF2B5EF4-FFF2-40B4-BE49-F238E27FC236}">
                <a16:creationId xmlns:a16="http://schemas.microsoft.com/office/drawing/2014/main" xmlns="" id="{E2E965E8-0C21-034E-A176-AECFF8912354}"/>
              </a:ext>
            </a:extLst>
          </p:cNvPr>
          <p:cNvSpPr/>
          <p:nvPr/>
        </p:nvSpPr>
        <p:spPr>
          <a:xfrm>
            <a:off x="842198" y="3084947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убсидии субъектам МСП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818353"/>
              </p:ext>
            </p:extLst>
          </p:nvPr>
        </p:nvGraphicFramePr>
        <p:xfrm>
          <a:off x="861864" y="786789"/>
          <a:ext cx="7472511" cy="15201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0772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4668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социальные предприниматели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5% затра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(аренда, ремонт, приобретение оборудования)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2 млн руб.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ясли для детей до 3 лет -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 млн руб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ятие должно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ключиться в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еестр соц. </a:t>
                      </a:r>
                      <a:r>
                        <a:rPr lang="ru-RU" sz="12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нимателей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044168"/>
              </p:ext>
            </p:extLst>
          </p:nvPr>
        </p:nvGraphicFramePr>
        <p:xfrm>
          <a:off x="806300" y="3080827"/>
          <a:ext cx="7541848" cy="14408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583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716013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43611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сфере спорта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одключение инженерных сетей, ремонт,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 и проценты по кредитам для спортивных сооружений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2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лн. руб.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E0F5A2D4-1479-6543-8584-CD2756AC15E8}"/>
              </a:ext>
            </a:extLst>
          </p:cNvPr>
          <p:cNvSpPr/>
          <p:nvPr/>
        </p:nvSpPr>
        <p:spPr>
          <a:xfrm>
            <a:off x="474838" y="743449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3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838" y="1166397"/>
            <a:ext cx="310385" cy="31038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734" y="1899731"/>
            <a:ext cx="238591" cy="238591"/>
          </a:xfrm>
          <a:prstGeom prst="rect">
            <a:avLst/>
          </a:prstGeom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56563452-4E43-7444-86F5-CCBF2A0B50A0}"/>
              </a:ext>
            </a:extLst>
          </p:cNvPr>
          <p:cNvSpPr/>
          <p:nvPr/>
        </p:nvSpPr>
        <p:spPr>
          <a:xfrm>
            <a:off x="474838" y="306298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4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584FF08-EB9E-7B41-B8D3-BFB855DB53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838" y="3457360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1FF4679E-C397-3149-B00D-5720135A75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734" y="4111904"/>
            <a:ext cx="238591" cy="238591"/>
          </a:xfrm>
          <a:prstGeom prst="rect">
            <a:avLst/>
          </a:prstGeom>
        </p:spPr>
      </p:pic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635520A8-7495-5F46-8C80-D613610A7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766723"/>
              </p:ext>
            </p:extLst>
          </p:nvPr>
        </p:nvGraphicFramePr>
        <p:xfrm>
          <a:off x="861864" y="2404000"/>
          <a:ext cx="7455049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34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79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83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01.08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F4F5391D-E2F0-BC4A-BBD0-6450E895B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209488"/>
              </p:ext>
            </p:extLst>
          </p:nvPr>
        </p:nvGraphicFramePr>
        <p:xfrm>
          <a:off x="861864" y="4590614"/>
          <a:ext cx="7455049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34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79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83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, приор. категорий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6 94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01.08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4846155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xmlns="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983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9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:a16="http://schemas.microsoft.com/office/drawing/2014/main" xmlns="" id="{9A569390-88B9-F749-88AA-28119AD9937F}"/>
              </a:ext>
            </a:extLst>
          </p:cNvPr>
          <p:cNvSpPr/>
          <p:nvPr/>
        </p:nvSpPr>
        <p:spPr>
          <a:xfrm>
            <a:off x="722831" y="1380162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188688"/>
              </p:ext>
            </p:extLst>
          </p:nvPr>
        </p:nvGraphicFramePr>
        <p:xfrm>
          <a:off x="703781" y="1389687"/>
          <a:ext cx="8011391" cy="17633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17566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1793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1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вые предприятия + предприятия, расширившие свои производственные мощност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417937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Единоразовое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озмещение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10% от стоимости всего проект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927477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субсидии необходимо подать заявку в </a:t>
                      </a:r>
                      <a:r>
                        <a:rPr lang="ru-RU" sz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нвест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сковской 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ласти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сле официального извещения о начале конкурса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668-00-99, Priemnayamii@mosreg.ru 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396" y="1822952"/>
            <a:ext cx="310385" cy="31038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279" y="2308961"/>
            <a:ext cx="238591" cy="238591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F8B720D6-5B7A-2D4B-8B69-5E3975355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111700"/>
              </p:ext>
            </p:extLst>
          </p:nvPr>
        </p:nvGraphicFramePr>
        <p:xfrm>
          <a:off x="684213" y="3328662"/>
          <a:ext cx="7869237" cy="91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05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83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мышленных крупных и средних предприятий МО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332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 11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xmlns="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249254"/>
            <a:ext cx="5291709" cy="623248"/>
          </a:xfrm>
        </p:spPr>
        <p:txBody>
          <a:bodyPr/>
          <a:lstStyle/>
          <a:p>
            <a:r>
              <a:rPr lang="ru-RU" dirty="0"/>
              <a:t>Возмещение затрат на создание объектов инженерной инфра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2199396965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8013DC92-03AA-A543-B307-AE4396C41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346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C633C02A-8307-A842-BFA6-DD5FE5CE9455}"/>
              </a:ext>
            </a:extLst>
          </p:cNvPr>
          <p:cNvSpPr/>
          <p:nvPr/>
        </p:nvSpPr>
        <p:spPr>
          <a:xfrm>
            <a:off x="711219" y="1282187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5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4802900"/>
              </p:ext>
            </p:extLst>
          </p:nvPr>
        </p:nvGraphicFramePr>
        <p:xfrm>
          <a:off x="703200" y="1272662"/>
          <a:ext cx="8039966" cy="1620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204239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ый перечень организаций МО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b="1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01.03.2020 года до 01.10.2020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плата арендных платежей за период действия отсрочки будет осуществляться равными частям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ратиться с письменным заявлением о предоставлении отсрочки </a:t>
                      </a:r>
                    </a:p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</a:t>
                      </a:r>
                      <a:r>
                        <a:rPr lang="ru-RU" sz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мущество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 или через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С.УСЛУГ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hlinkClick r:id="rId6"/>
                        </a:rPr>
                        <a:t>https://www.gosuslugi.ru/396247/1/info</a:t>
                      </a:r>
                      <a:endParaRPr lang="ru-RU" sz="12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076325" y="249254"/>
            <a:ext cx="5196459" cy="623248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тсрочка по уплате арендных платежей (имущество МО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933723"/>
              </p:ext>
            </p:extLst>
          </p:nvPr>
        </p:nvGraphicFramePr>
        <p:xfrm>
          <a:off x="445717" y="3235325"/>
          <a:ext cx="8252565" cy="763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08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08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08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-во арендаторов МСП </a:t>
                      </a:r>
                      <a:b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636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82251" y="4773633"/>
            <a:ext cx="8260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</a:t>
            </a:r>
            <a:r>
              <a:rPr lang="ru-RU" sz="11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овая торговля, коды ОКВЭД по розничной торговле, не вошедшие в перечень пострадавших 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434CC0F-C40E-CF4E-94F8-70A2EAE722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834" y="1715452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E3EC0D0A-BD47-2040-83FC-1A842B18E8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6717" y="2482676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551378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Иные меры поддержки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</p:spPr>
        <p:txBody>
          <a:bodyPr/>
          <a:lstStyle/>
          <a:p>
            <a:fld id="{50F14DE7-7E30-4447-9A53-6BC505903302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xmlns="" id="{971984A0-2B2E-5541-808F-5D5F125BA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451662"/>
              </p:ext>
            </p:extLst>
          </p:nvPr>
        </p:nvGraphicFramePr>
        <p:xfrm>
          <a:off x="640919" y="1125855"/>
          <a:ext cx="8074253" cy="354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76">
                  <a:extLst>
                    <a:ext uri="{9D8B030D-6E8A-4147-A177-3AD203B41FA5}">
                      <a16:colId xmlns:a16="http://schemas.microsoft.com/office/drawing/2014/main" xmlns="" val="1248892959"/>
                    </a:ext>
                  </a:extLst>
                </a:gridCol>
                <a:gridCol w="3114675">
                  <a:extLst>
                    <a:ext uri="{9D8B030D-6E8A-4147-A177-3AD203B41FA5}">
                      <a16:colId xmlns:a16="http://schemas.microsoft.com/office/drawing/2014/main" xmlns="" val="1126775135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xmlns="" val="452615266"/>
                    </a:ext>
                  </a:extLst>
                </a:gridCol>
                <a:gridCol w="2483077">
                  <a:extLst>
                    <a:ext uri="{9D8B030D-6E8A-4147-A177-3AD203B41FA5}">
                      <a16:colId xmlns:a16="http://schemas.microsoft.com/office/drawing/2014/main" xmlns="" val="589237247"/>
                    </a:ext>
                  </a:extLst>
                </a:gridCol>
              </a:tblGrid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требований к обеспечению </a:t>
                      </a:r>
                      <a:r>
                        <a:rPr lang="ru-RU" b="1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сконтрактов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31 декабря 2020 г. 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устанавливается требование обеспечения исполнения контракта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26734235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ческое продление разрешений и лицензий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15 марта по 31 декабря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5882783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прет на проверки, взыскания и санкци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1 июня 2020 г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35038833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раторий на возбуждение дел о банкротстве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6 апреля по 6 октября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65291939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по сдаче налоговой и бухгалтерской отчетности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 3 месяца 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кроме НДС), срок сдачи которых приходится на март-май 2020 года.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44600655"/>
                  </a:ext>
                </a:extLst>
              </a:tr>
            </a:tbl>
          </a:graphicData>
        </a:graphic>
      </p:graphicFrame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7FCFF93E-3BA4-D445-9678-6FA1AB38034B}"/>
              </a:ext>
            </a:extLst>
          </p:cNvPr>
          <p:cNvSpPr/>
          <p:nvPr/>
        </p:nvSpPr>
        <p:spPr>
          <a:xfrm>
            <a:off x="640919" y="26221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DB31BC54-F2F9-D146-95DB-1B3B48F0909B}"/>
              </a:ext>
            </a:extLst>
          </p:cNvPr>
          <p:cNvSpPr/>
          <p:nvPr/>
        </p:nvSpPr>
        <p:spPr>
          <a:xfrm>
            <a:off x="640919" y="1907779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1531ED5D-00C6-734E-8FFE-A144503E2658}"/>
              </a:ext>
            </a:extLst>
          </p:cNvPr>
          <p:cNvSpPr/>
          <p:nvPr/>
        </p:nvSpPr>
        <p:spPr>
          <a:xfrm>
            <a:off x="640919" y="11743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A9140FCC-205F-4E4E-BC39-E5A20610E0F4}"/>
              </a:ext>
            </a:extLst>
          </p:cNvPr>
          <p:cNvSpPr/>
          <p:nvPr/>
        </p:nvSpPr>
        <p:spPr>
          <a:xfrm>
            <a:off x="640919" y="328890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AC32F80A-05D6-9D48-8C60-3E4391B5F2E7}"/>
              </a:ext>
            </a:extLst>
          </p:cNvPr>
          <p:cNvSpPr/>
          <p:nvPr/>
        </p:nvSpPr>
        <p:spPr>
          <a:xfrm>
            <a:off x="640919" y="39937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57930406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C9F07CC5-D780-AE4D-820C-CB38B9E536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107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ятиугольник 4">
            <a:extLst>
              <a:ext uri="{FF2B5EF4-FFF2-40B4-BE49-F238E27FC236}">
                <a16:creationId xmlns:a16="http://schemas.microsoft.com/office/drawing/2014/main" xmlns="" id="{8DC5AAB8-0748-3643-A216-5AF73CA2A70D}"/>
              </a:ext>
            </a:extLst>
          </p:cNvPr>
          <p:cNvSpPr/>
          <p:nvPr/>
        </p:nvSpPr>
        <p:spPr>
          <a:xfrm>
            <a:off x="498323" y="1062673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09895"/>
              </p:ext>
            </p:extLst>
          </p:nvPr>
        </p:nvGraphicFramePr>
        <p:xfrm>
          <a:off x="497199" y="1062673"/>
          <a:ext cx="8382663" cy="3723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се предприятия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НК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ъем кредита: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  <a:r>
                        <a:rPr lang="en-US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число месяцев с даты 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а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 декабря (но не более 6 месяцев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 погашения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1 апреля 2021 год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вка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1 апреля 2021, затем рыночная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тратить н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ы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ак и на погашение ранее взятого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ного кредита под 0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ез уплаты ежемесячных процентов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сохранении занятости </a:t>
                      </a:r>
                      <a:r>
                        <a:rPr lang="ru-RU" sz="14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кредит и проценты спишут (</a:t>
                      </a:r>
                      <a:r>
                        <a:rPr lang="ru-RU" sz="14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0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шут наполовину)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банков: 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бербанк, ВТБ, Открытие, Альфа-Банк, МСП-Банк, Промсвязьбанк,  Газпромбанк и иные (полный перечень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corpmsp.ru/bankam/programma_stimulir/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623248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Новая специальная кредитная программа </a:t>
            </a:r>
            <a:r>
              <a:rPr lang="ru-RU" dirty="0">
                <a:solidFill>
                  <a:srgbClr val="7030A0"/>
                </a:solidFill>
              </a:rPr>
              <a:t>(НОВОЕ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F028DA9E-3F2F-6543-9FA2-A6879AAB9D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938" y="1495938"/>
            <a:ext cx="310385" cy="31038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D773FEAA-D6F7-3E4E-9852-61AD446B5C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821" y="3834787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313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10A9E247-3147-044D-853A-8091FB6717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31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ятиугольник 5">
            <a:extLst>
              <a:ext uri="{FF2B5EF4-FFF2-40B4-BE49-F238E27FC236}">
                <a16:creationId xmlns:a16="http://schemas.microsoft.com/office/drawing/2014/main" xmlns="" id="{91F0FEC3-6C28-FA4D-B7B1-C92043B13CB2}"/>
              </a:ext>
            </a:extLst>
          </p:cNvPr>
          <p:cNvSpPr/>
          <p:nvPr/>
        </p:nvSpPr>
        <p:spPr>
          <a:xfrm>
            <a:off x="1128564" y="1115363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ятиугольник 12">
            <a:extLst>
              <a:ext uri="{FF2B5EF4-FFF2-40B4-BE49-F238E27FC236}">
                <a16:creationId xmlns:a16="http://schemas.microsoft.com/office/drawing/2014/main" xmlns="" id="{41DC96DF-8661-3B47-9F64-65F1DA4745D4}"/>
              </a:ext>
            </a:extLst>
          </p:cNvPr>
          <p:cNvSpPr/>
          <p:nvPr/>
        </p:nvSpPr>
        <p:spPr>
          <a:xfrm>
            <a:off x="1128564" y="3024340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нижение налогов </a:t>
            </a:r>
            <a:r>
              <a:rPr lang="ru-RU" dirty="0">
                <a:solidFill>
                  <a:srgbClr val="7030A0"/>
                </a:solidFill>
                <a:ea typeface="+mn-ea"/>
              </a:rPr>
              <a:t>(НОВОЕ)</a:t>
            </a:r>
          </a:p>
        </p:txBody>
      </p:sp>
      <p:graphicFrame>
        <p:nvGraphicFramePr>
          <p:cNvPr id="11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775728"/>
              </p:ext>
            </p:extLst>
          </p:nvPr>
        </p:nvGraphicFramePr>
        <p:xfrm>
          <a:off x="1128564" y="1115363"/>
          <a:ext cx="7205811" cy="15972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34102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НК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53051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ание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сех налогов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кроме НДС) и страховых взносов за II квартал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уплаты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х налогов и сборов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 I квартал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74271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списанию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налогов порядок прорабатывается Правительством РФ 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 отсрочке 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явление в налоговый орган по месту нахождения Горячая линия ФНС 8-800-222-22-22.</a:t>
                      </a:r>
                      <a:endParaRPr lang="ru-RU" sz="12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4245758"/>
              </p:ext>
            </p:extLst>
          </p:nvPr>
        </p:nvGraphicFramePr>
        <p:xfrm>
          <a:off x="1128564" y="3016836"/>
          <a:ext cx="7205811" cy="11989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38486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26732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996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П из пострадавших отраслей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99659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ычет МРОТ в отношении страховых взносо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9965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рядок пока не определен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12E9BE22-197F-FF40-A0B4-13B65092B385}"/>
              </a:ext>
            </a:extLst>
          </p:cNvPr>
          <p:cNvSpPr/>
          <p:nvPr/>
        </p:nvSpPr>
        <p:spPr>
          <a:xfrm>
            <a:off x="768554" y="1112453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D936343C-C53B-2D49-B306-56340436AA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554" y="1449459"/>
            <a:ext cx="310385" cy="31038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CDAD99B-96D0-3341-BBBE-E7158D60D6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450" y="2031211"/>
            <a:ext cx="238591" cy="238591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1462BD30-3596-AC42-AE6E-9B726C662109}"/>
              </a:ext>
            </a:extLst>
          </p:cNvPr>
          <p:cNvSpPr/>
          <p:nvPr/>
        </p:nvSpPr>
        <p:spPr>
          <a:xfrm>
            <a:off x="768554" y="3021430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3F783414-4D96-714D-86CE-AE085FCA6B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554" y="3461131"/>
            <a:ext cx="310385" cy="31038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24F28DE7-D50F-B543-9B5C-A3563A40BE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450" y="3872257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544535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xmlns="" id="{4EBBEDA9-57F0-4341-AA0C-B89BBB957B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003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4DA58089-63FD-9449-AF0F-218C405D40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Пятиугольник 6">
            <a:extLst>
              <a:ext uri="{FF2B5EF4-FFF2-40B4-BE49-F238E27FC236}">
                <a16:creationId xmlns:a16="http://schemas.microsoft.com/office/drawing/2014/main" xmlns="" id="{41E48020-5F84-1541-AEB6-35AE1FDD5D8B}"/>
              </a:ext>
            </a:extLst>
          </p:cNvPr>
          <p:cNvSpPr/>
          <p:nvPr/>
        </p:nvSpPr>
        <p:spPr>
          <a:xfrm>
            <a:off x="994929" y="114240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Меры поддержки </a:t>
            </a:r>
            <a:r>
              <a:rPr lang="ru-RU" dirty="0" err="1"/>
              <a:t>Самозанятых</a:t>
            </a:r>
            <a:r>
              <a:rPr lang="ru-RU" dirty="0"/>
              <a:t> </a:t>
            </a:r>
            <a:r>
              <a:rPr lang="ru-RU" dirty="0">
                <a:solidFill>
                  <a:srgbClr val="7030A0"/>
                </a:solidFill>
              </a:rPr>
              <a:t>(НОВОЕ)</a:t>
            </a:r>
            <a:r>
              <a:rPr lang="ru-RU" sz="1600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9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682426"/>
              </p:ext>
            </p:extLst>
          </p:nvPr>
        </p:nvGraphicFramePr>
        <p:xfrm>
          <a:off x="994929" y="1139495"/>
          <a:ext cx="7154141" cy="1620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31841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амозаняты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озврат налога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доход за 2019 г. в полном объеме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налоговый капитал» 1 МРО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латежи в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разработке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рячая линия ФНС 8-800-222-22-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753465"/>
              </p:ext>
            </p:extLst>
          </p:nvPr>
        </p:nvGraphicFramePr>
        <p:xfrm>
          <a:off x="994929" y="3213067"/>
          <a:ext cx="7154142" cy="76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200" b="0" kern="1200" dirty="0" err="1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х</a:t>
                      </a: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возврат налог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61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73 6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73 6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910793"/>
              </p:ext>
            </p:extLst>
          </p:nvPr>
        </p:nvGraphicFramePr>
        <p:xfrm>
          <a:off x="994929" y="4140167"/>
          <a:ext cx="7154142" cy="76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200" b="0" kern="1200" dirty="0" err="1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х</a:t>
                      </a: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налоговый капитал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61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3 57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3 57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E9276F2-F854-3544-B56C-94A90C969B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919" y="1531681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93F00434-AFC4-2E49-B44A-415A9E15D4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815" y="2175523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741845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83501" y="249258"/>
            <a:ext cx="5267196" cy="346247"/>
          </a:xfrm>
        </p:spPr>
        <p:txBody>
          <a:bodyPr/>
          <a:lstStyle/>
          <a:p>
            <a:r>
              <a:rPr lang="ru-RU" dirty="0"/>
              <a:t>Основные Меры поддерж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907A9EB-B1FB-4259-9F47-F1E63D9B2E5E}"/>
              </a:ext>
            </a:extLst>
          </p:cNvPr>
          <p:cNvSpPr txBox="1"/>
          <p:nvPr/>
        </p:nvSpPr>
        <p:spPr>
          <a:xfrm>
            <a:off x="1083501" y="920056"/>
            <a:ext cx="7802175" cy="39087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я на оплату труда работникам и иные нужд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 на </a:t>
            </a: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рплату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%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структуризация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а «1/3-1/3-1/3»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b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</a:t>
            </a:r>
            <a:r>
              <a:rPr lang="ru-RU" b="1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а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по кредита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ые займ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ймы промышленным предприятия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и субъектам МСП</a:t>
            </a:r>
          </a:p>
          <a:p>
            <a:pPr marL="285750" lvl="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ещение затрат на создание объектов инженерной инфраструктур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о уплате арендных платежей</a:t>
            </a:r>
          </a:p>
        </p:txBody>
      </p:sp>
    </p:spTree>
    <p:extLst>
      <p:ext uri="{BB962C8B-B14F-4D97-AF65-F5344CB8AC3E}">
        <p14:creationId xmlns:p14="http://schemas.microsoft.com/office/powerpoint/2010/main" val="309131711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83501" y="249258"/>
            <a:ext cx="5467612" cy="561692"/>
          </a:xfrm>
        </p:spPr>
        <p:txBody>
          <a:bodyPr/>
          <a:lstStyle/>
          <a:p>
            <a:r>
              <a:rPr lang="ru-RU" dirty="0"/>
              <a:t>Наиболее пострадавшие отрасли </a:t>
            </a:r>
            <a:br>
              <a:rPr lang="ru-RU" dirty="0"/>
            </a:br>
            <a:r>
              <a:rPr lang="ru-RU" sz="1400" dirty="0">
                <a:solidFill>
                  <a:schemeClr val="accent1"/>
                </a:solidFill>
              </a:rPr>
              <a:t>(108 886 субъектов МСП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907A9EB-B1FB-4259-9F47-F1E63D9B2E5E}"/>
              </a:ext>
            </a:extLst>
          </p:cNvPr>
          <p:cNvSpPr txBox="1"/>
          <p:nvPr/>
        </p:nvSpPr>
        <p:spPr>
          <a:xfrm>
            <a:off x="1284795" y="891140"/>
            <a:ext cx="6657691" cy="4219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авиаперевозки, аэропортовая деятельность, автоперевозки </a:t>
            </a:r>
            <a:r>
              <a:rPr lang="en-US" kern="0" dirty="0">
                <a:solidFill>
                  <a:srgbClr val="000000"/>
                </a:solidFill>
              </a:rPr>
              <a:t>– </a:t>
            </a:r>
            <a:r>
              <a:rPr lang="ru-RU" b="1" kern="0" dirty="0">
                <a:solidFill>
                  <a:schemeClr val="bg2"/>
                </a:solidFill>
              </a:rPr>
              <a:t>32 87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культура, организация досуга и развлечений – </a:t>
            </a:r>
            <a:r>
              <a:rPr lang="ru-RU" b="1" kern="0" dirty="0">
                <a:solidFill>
                  <a:schemeClr val="bg2"/>
                </a:solidFill>
              </a:rPr>
              <a:t>2 53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физкультурно-оздоровительная деятельность и спорт – </a:t>
            </a:r>
            <a:r>
              <a:rPr lang="ru-RU" b="1" kern="0" dirty="0">
                <a:solidFill>
                  <a:schemeClr val="bg2"/>
                </a:solidFill>
              </a:rPr>
              <a:t>5 739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туристических агентств и прочих организаций, </a:t>
            </a:r>
            <a:r>
              <a:rPr lang="en-US" kern="0" dirty="0">
                <a:solidFill>
                  <a:srgbClr val="000000"/>
                </a:solidFill>
              </a:rPr>
              <a:t/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ru-RU" kern="0" dirty="0">
                <a:solidFill>
                  <a:srgbClr val="000000"/>
                </a:solidFill>
              </a:rPr>
              <a:t>предоставляющих услуги в сфере туризма – </a:t>
            </a:r>
            <a:r>
              <a:rPr lang="ru-RU" b="1" kern="0" dirty="0">
                <a:solidFill>
                  <a:schemeClr val="bg2"/>
                </a:solidFill>
              </a:rPr>
              <a:t>3 028 МСП</a:t>
            </a:r>
          </a:p>
          <a:p>
            <a:pPr marL="171446" lvl="0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гостиничный бизнес – </a:t>
            </a:r>
            <a:r>
              <a:rPr lang="ru-RU" b="1" kern="0" dirty="0">
                <a:solidFill>
                  <a:schemeClr val="bg2"/>
                </a:solidFill>
              </a:rPr>
              <a:t>1 15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общественное питание – </a:t>
            </a:r>
            <a:r>
              <a:rPr lang="ru-RU" b="1" kern="0" dirty="0">
                <a:solidFill>
                  <a:schemeClr val="bg2"/>
                </a:solidFill>
              </a:rPr>
              <a:t>8 049 МСП</a:t>
            </a:r>
          </a:p>
          <a:p>
            <a:pPr marL="171446" lvl="0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организаций дополнительного образования, </a:t>
            </a:r>
            <a:r>
              <a:rPr lang="en-US" kern="0" dirty="0">
                <a:solidFill>
                  <a:srgbClr val="000000"/>
                </a:solidFill>
              </a:rPr>
              <a:t/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ru-RU" kern="0" dirty="0">
                <a:solidFill>
                  <a:srgbClr val="000000"/>
                </a:solidFill>
              </a:rPr>
              <a:t>негосударственных образовательных учреждений – </a:t>
            </a:r>
            <a:r>
              <a:rPr lang="ru-RU" b="1" kern="0" dirty="0">
                <a:solidFill>
                  <a:schemeClr val="bg2"/>
                </a:solidFill>
              </a:rPr>
              <a:t>4 231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по организации конференций и выставок – </a:t>
            </a:r>
            <a:r>
              <a:rPr lang="ru-RU" b="1" kern="0" dirty="0">
                <a:solidFill>
                  <a:schemeClr val="bg2"/>
                </a:solidFill>
              </a:rPr>
              <a:t>171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по предоставлению бытовых услуг населению (ремонт, стирка, химчистка, услуги парикмахерских и салонов красоты) – </a:t>
            </a:r>
            <a:r>
              <a:rPr lang="ru-RU" b="1" kern="0" dirty="0">
                <a:solidFill>
                  <a:schemeClr val="bg2"/>
                </a:solidFill>
              </a:rPr>
              <a:t>13 142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торговля непродовольственными товарами, торговля через автоматы – </a:t>
            </a:r>
            <a:r>
              <a:rPr lang="ru-RU" b="1" kern="0" dirty="0">
                <a:solidFill>
                  <a:schemeClr val="bg2"/>
                </a:solidFill>
              </a:rPr>
              <a:t>36 576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деятельность в области здравоохранения (стоматологические клиники) </a:t>
            </a:r>
            <a:r>
              <a:rPr lang="ru-RU" kern="0" dirty="0">
                <a:solidFill>
                  <a:srgbClr val="000000"/>
                </a:solidFill>
              </a:rPr>
              <a:t>– </a:t>
            </a:r>
            <a:r>
              <a:rPr lang="ru-RU" b="1" kern="0" dirty="0">
                <a:solidFill>
                  <a:schemeClr val="bg2"/>
                </a:solidFill>
              </a:rPr>
              <a:t>1 329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народно-художественные промыслы – </a:t>
            </a:r>
            <a:r>
              <a:rPr lang="ru-RU" b="1" kern="0" dirty="0">
                <a:solidFill>
                  <a:schemeClr val="bg2"/>
                </a:solidFill>
              </a:rPr>
              <a:t>56 МСП</a:t>
            </a:r>
            <a:endParaRPr lang="ru-RU" kern="0" dirty="0">
              <a:solidFill>
                <a:schemeClr val="bg2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D8E46A1C-C508-4762-A60B-A50BED3A74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718" y="843375"/>
            <a:ext cx="273407" cy="27340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D08B68FA-B956-4052-8952-F27EB7F5C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718" y="1888558"/>
            <a:ext cx="273407" cy="27340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A0C5C55A-6786-40C6-819A-B75DBE01E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3499" y="3808552"/>
            <a:ext cx="273844" cy="27384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E546AF5B-18D3-413D-B8F5-D4AFAB366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718" y="2979468"/>
            <a:ext cx="269407" cy="26940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9FADD96B-A87D-428D-880B-8EAC1B9DA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944" y="3406637"/>
            <a:ext cx="252955" cy="25295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43A6C75E-B96F-49EA-8B6A-7755EFA86D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3944" y="1464797"/>
            <a:ext cx="252955" cy="2529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683CA116-545E-4210-A9D6-BAB64D0861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3944" y="2315796"/>
            <a:ext cx="252955" cy="25295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D2708AC1-2A31-4037-A4FC-C36D50BFE7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1028" y="1158146"/>
            <a:ext cx="238786" cy="238786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" r="1417" b="12697"/>
          <a:stretch/>
        </p:blipFill>
        <p:spPr>
          <a:xfrm>
            <a:off x="7610591" y="402873"/>
            <a:ext cx="1350000" cy="2415896"/>
          </a:xfrm>
          <a:prstGeom prst="rect">
            <a:avLst/>
          </a:prstGeom>
          <a:effectLst>
            <a:outerShdw blurRad="317500" dist="50800" dir="3720000" sx="102000" sy="102000" algn="ctr" rotWithShape="0">
              <a:srgbClr val="000000">
                <a:alpha val="20000"/>
              </a:srgb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7610592" y="1635551"/>
            <a:ext cx="1390193" cy="84830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>
              <a:defRPr/>
            </a:pP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</a:t>
            </a:r>
          </a:p>
          <a:p>
            <a:pPr lvl="0" algn="ctr"/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03.04.2020 </a:t>
            </a:r>
          </a:p>
          <a:p>
            <a:pPr lvl="0" algn="ctr"/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№ 434 </a:t>
            </a:r>
            <a:r>
              <a:rPr lang="ru-RU" alt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alt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0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52DE5852-894E-A14B-9702-05F8870744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7359" y="2617472"/>
            <a:ext cx="246124" cy="24612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AC339BA-3CF9-7748-9374-1F46E8E461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359" y="4808235"/>
            <a:ext cx="246124" cy="24612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63361C3C-5D00-1542-8640-71B1952472F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7359" y="4217317"/>
            <a:ext cx="246124" cy="24612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30753969-1DD9-A84C-B587-3AB8C0A317B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7359" y="4540412"/>
            <a:ext cx="246124" cy="246124"/>
          </a:xfrm>
          <a:prstGeom prst="rect">
            <a:avLst/>
          </a:prstGeom>
        </p:spPr>
      </p:pic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xmlns="" id="{32D3982C-0293-FF44-A014-8655F0BB5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</p:spPr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3959594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5BFACD33-59AB-5E41-A5A8-C860B18559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289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3A0C9E19-BA19-5B48-9159-9881671B21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xmlns="" id="{C4F8D319-32FD-1E4C-BEB1-56D0A6EB039C}"/>
              </a:ext>
            </a:extLst>
          </p:cNvPr>
          <p:cNvSpPr/>
          <p:nvPr/>
        </p:nvSpPr>
        <p:spPr>
          <a:xfrm>
            <a:off x="530541" y="1121910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Субсидия на оплату труда работникам и иные нужды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799670"/>
              </p:ext>
            </p:extLst>
          </p:nvPr>
        </p:nvGraphicFramePr>
        <p:xfrm>
          <a:off x="530541" y="1151890"/>
          <a:ext cx="8382663" cy="2839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змер субсидии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</a:t>
                      </a:r>
                      <a:r>
                        <a:rPr lang="ru-RU" sz="1200" b="0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12 130  </a:t>
                      </a:r>
                      <a:r>
                        <a:rPr lang="ru-RU" sz="1200" b="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.)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лучить з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прель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и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ай,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ыплаты с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 ма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тратить на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у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ммунальные платеж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ренд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лучить если:</a:t>
                      </a:r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охранено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 </a:t>
                      </a: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ботников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доимка по налогам и страховым взносам меньше 3000 руб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ление на сайте ФНС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https://www.nalog.ru/rn77/business-support-2020/subsidy/</a:t>
                      </a:r>
                      <a:r>
                        <a:rPr lang="ru-RU" sz="120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через личный кабинет налогоплательщик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рячая линия ФНС 8-800-222-22-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665495"/>
              </p:ext>
            </p:extLst>
          </p:nvPr>
        </p:nvGraphicFramePr>
        <p:xfrm>
          <a:off x="543152" y="4228080"/>
          <a:ext cx="8172021" cy="6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16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93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10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27 028 (подано заявок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2611657-04CA-5044-91F7-518C0952B4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990" y="1565530"/>
            <a:ext cx="348162" cy="34816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030FDC66-6DAB-B14C-846C-D953B09163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529" y="321075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16913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FEB334B-457E-DD4B-A135-9A7EE2FC38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795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F94E5D83-16CB-9648-A5A1-DA9F90A6C13D}"/>
              </a:ext>
            </a:extLst>
          </p:cNvPr>
          <p:cNvSpPr/>
          <p:nvPr/>
        </p:nvSpPr>
        <p:spPr>
          <a:xfrm>
            <a:off x="551077" y="1192145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803676"/>
              </p:ext>
            </p:extLst>
          </p:nvPr>
        </p:nvGraphicFramePr>
        <p:xfrm>
          <a:off x="535299" y="1202193"/>
          <a:ext cx="8382663" cy="2321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се предприятия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ъем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</a:t>
                      </a:r>
                      <a:r>
                        <a:rPr lang="ru-RU" sz="1200" b="1" cap="all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  <a:r>
                        <a:rPr lang="en-US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есяцев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год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вк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6 месяцев –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 %,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алее –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 %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банков: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бербанк, ВТБ, Открытие, Альфа-Банк, МСП-Банк, Промсвязьбанк,  Газпромбанк и иные (полный перечень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corpmsp.ru/bankam/programma_stimulir/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Кредит на Зарплату 0%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D0B4529A-E3C0-3D40-B0CA-8B16C1BE60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061056"/>
              </p:ext>
            </p:extLst>
          </p:nvPr>
        </p:nvGraphicFramePr>
        <p:xfrm>
          <a:off x="551077" y="3925103"/>
          <a:ext cx="8278598" cy="84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65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241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479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9 488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9 48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дана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2 058 заявок на 3,5 млрд руб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8086AA30-E80E-2A4B-B280-370F204508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990" y="1584580"/>
            <a:ext cx="348162" cy="34816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FF06219-FB03-3C45-A142-A6D10B1197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529" y="2571750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195127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93E86CE-444E-B64E-8742-C0E762121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654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AE24A538-CC2C-BA4D-B440-741BD698AC03}"/>
              </a:ext>
            </a:extLst>
          </p:cNvPr>
          <p:cNvSpPr/>
          <p:nvPr/>
        </p:nvSpPr>
        <p:spPr>
          <a:xfrm>
            <a:off x="924294" y="944818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690783"/>
              </p:ext>
            </p:extLst>
          </p:nvPr>
        </p:nvGraphicFramePr>
        <p:xfrm>
          <a:off x="895990" y="960827"/>
          <a:ext cx="7819182" cy="2992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98345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тсрочка платежей на срок не более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 месяцев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прет неустоек, досрочного погашения кредита на 6 месяцев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ые условия для ИП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змер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не более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лн руб.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тсрочка платежей на 6 месяцев или уменьшение их размера на 6 месяце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рок до 30.09.2020 необходимо подать заявление в банк, где взят кредит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 smtClean="0"/>
              <a:t>Реструктуризация кредита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C920FBE8-9461-0449-AB04-176F0FA7D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887" y="1365909"/>
            <a:ext cx="348162" cy="348162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E184ECD8-81F0-4446-9970-3408C19FF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57377"/>
              </p:ext>
            </p:extLst>
          </p:nvPr>
        </p:nvGraphicFramePr>
        <p:xfrm>
          <a:off x="924294" y="4068373"/>
          <a:ext cx="7699296" cy="96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64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68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060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3611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1973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8 886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Все у кого есть кредит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ступило 5 294 заявки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на 28,8 млрд. рублей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E61A3B1-C340-3640-B398-EE29E1603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526" y="300421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66126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93E86CE-444E-B64E-8742-C0E762121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3942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AE24A538-CC2C-BA4D-B440-741BD698AC03}"/>
              </a:ext>
            </a:extLst>
          </p:cNvPr>
          <p:cNvSpPr/>
          <p:nvPr/>
        </p:nvSpPr>
        <p:spPr>
          <a:xfrm>
            <a:off x="924294" y="944818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570561"/>
              </p:ext>
            </p:extLst>
          </p:nvPr>
        </p:nvGraphicFramePr>
        <p:xfrm>
          <a:off x="895991" y="960827"/>
          <a:ext cx="8010014" cy="2763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0529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12948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срочка платежей по основному долгу и снижение ставки по кредиту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плата процентов: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1/3 заемщик, 1/3 банк, 1/3 государство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</a:t>
                      </a: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 месяцев 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с 01.04.2020 по 01.10.2020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варианта погашения %: </a:t>
                      </a:r>
                      <a:r>
                        <a:rPr lang="ru-RU" sz="1200" b="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обычному графику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                  </a:t>
                      </a:r>
                      <a:r>
                        <a:rPr lang="ru-RU" sz="1200" b="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питализация % платежей и оплата их после 01.10.2020</a:t>
                      </a:r>
                      <a:endParaRPr lang="ru-RU" sz="1200" b="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обходимо подать заявление в банк, где взят кредит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invest.mosreg.ru/faq/pomoshch-vo-vzaimodejstvii-s-bankami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Программа «1/3-1/3-1/3»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C920FBE8-9461-0449-AB04-176F0FA7D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887" y="1365909"/>
            <a:ext cx="348162" cy="348162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E184ECD8-81F0-4446-9970-3408C19FF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566007"/>
              </p:ext>
            </p:extLst>
          </p:nvPr>
        </p:nvGraphicFramePr>
        <p:xfrm>
          <a:off x="924294" y="4068373"/>
          <a:ext cx="7699296" cy="96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64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68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060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3611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1973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8 886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Все у кого есть кредит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ступило 5 294 заявки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на 28,8 млрд. рублей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E61A3B1-C340-3640-B398-EE29E1603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526" y="300421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538214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0B1FF8F7-18DA-9949-80E3-643ECDF81C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354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ятиугольник 11">
            <a:extLst>
              <a:ext uri="{FF2B5EF4-FFF2-40B4-BE49-F238E27FC236}">
                <a16:creationId xmlns:a16="http://schemas.microsoft.com/office/drawing/2014/main" xmlns="" id="{ECF2ECF6-5D99-CA4A-A6E9-EEB454EE0DA8}"/>
              </a:ext>
            </a:extLst>
          </p:cNvPr>
          <p:cNvSpPr/>
          <p:nvPr/>
        </p:nvSpPr>
        <p:spPr>
          <a:xfrm>
            <a:off x="1125005" y="3165941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0B25F99C-C727-714A-B092-3354E8AF09A5}"/>
              </a:ext>
            </a:extLst>
          </p:cNvPr>
          <p:cNvSpPr/>
          <p:nvPr/>
        </p:nvSpPr>
        <p:spPr>
          <a:xfrm>
            <a:off x="1125005" y="86567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нижение налогов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5821188"/>
              </p:ext>
            </p:extLst>
          </p:nvPr>
        </p:nvGraphicFramePr>
        <p:xfrm>
          <a:off x="1125005" y="845579"/>
          <a:ext cx="7542745" cy="1055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77958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страховых взносов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30% до 15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отношении части выплат, превышающей МРОТ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ческ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6702775"/>
              </p:ext>
            </p:extLst>
          </p:nvPr>
        </p:nvGraphicFramePr>
        <p:xfrm>
          <a:off x="1125005" y="3154617"/>
          <a:ext cx="7590370" cy="1756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98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71238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собственников ТЦ, объектов торговли и общепит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вобождение от уплаты налога на имущество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01.03.2020г. по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1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2020г. при условии снижения ставок  арендной платы для арендаторов не менее чем на 50 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дать налоговую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декларацию со сниженной суммой налога в ФНС и приложить договоры аренды и доп. соглашения к ним.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о направить специальные формы отчетности в ФНС и МЭФ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xmlns="" id="{14B39421-39E1-8440-8F42-ECB9105D03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978114"/>
              </p:ext>
            </p:extLst>
          </p:nvPr>
        </p:nvGraphicFramePr>
        <p:xfrm>
          <a:off x="1143942" y="2084462"/>
          <a:ext cx="752380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56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949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631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A0E3923C-0B68-B442-BFC6-C621C55C1339}"/>
              </a:ext>
            </a:extLst>
          </p:cNvPr>
          <p:cNvSpPr/>
          <p:nvPr/>
        </p:nvSpPr>
        <p:spPr>
          <a:xfrm>
            <a:off x="707927" y="850434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xmlns="" id="{D8500C88-F958-D945-B7E3-660BF591AFD6}"/>
              </a:ext>
            </a:extLst>
          </p:cNvPr>
          <p:cNvSpPr/>
          <p:nvPr/>
        </p:nvSpPr>
        <p:spPr>
          <a:xfrm>
            <a:off x="701094" y="315461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29F3246-D719-EC4A-B621-89E206795B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1224528"/>
            <a:ext cx="310385" cy="31038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4D1FBD22-5228-7049-984A-79ABE9D287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1662508"/>
            <a:ext cx="238591" cy="23859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951302F-F853-DF4D-AEFD-88A7A0A5AB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3542158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265B7CC9-5902-DA46-BCB2-87008A6D0D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4173770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5030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BA1D315D-DF8B-8F4A-8638-A34141508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722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530D8518-7FC2-8A41-B577-A3191287D7E8}"/>
              </a:ext>
            </a:extLst>
          </p:cNvPr>
          <p:cNvSpPr/>
          <p:nvPr/>
        </p:nvSpPr>
        <p:spPr>
          <a:xfrm>
            <a:off x="939522" y="135781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0376774"/>
              </p:ext>
            </p:extLst>
          </p:nvPr>
        </p:nvGraphicFramePr>
        <p:xfrm>
          <a:off x="939522" y="1272794"/>
          <a:ext cx="7465012" cy="16209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2928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44834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731234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азмер поручительства: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2 млн руб.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срок до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0 лет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вознаграждения: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(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,75%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приоритетных категорий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44483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Банк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или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Региональный гарантийный фонд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Поручительства по кредитам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16E5A6E-C1DC-714D-90A8-B705CBE0CD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005" y="1735083"/>
            <a:ext cx="348162" cy="34816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7A281734-2DB0-4043-9AE4-C0F365D90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630" y="2499188"/>
            <a:ext cx="310911" cy="310911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7F251CB9-57BB-F24E-ACDA-8C39782C8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23365"/>
              </p:ext>
            </p:extLst>
          </p:nvPr>
        </p:nvGraphicFramePr>
        <p:xfrm>
          <a:off x="939521" y="3353631"/>
          <a:ext cx="7465011" cy="7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79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7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423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3544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4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9465960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wkO3KONOid9paMYAX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U3Ocrh8GterfRz2iDc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Jpuv8ULx_.AW33AjN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70</TotalTime>
  <Words>1733</Words>
  <Application>Microsoft Office PowerPoint</Application>
  <PresentationFormat>Экран (16:9)</PresentationFormat>
  <Paragraphs>364</Paragraphs>
  <Slides>1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Тема Office</vt:lpstr>
      <vt:lpstr>Слайд think-cell</vt:lpstr>
      <vt:lpstr>Презентация PowerPoint</vt:lpstr>
      <vt:lpstr>Основные Меры поддержки</vt:lpstr>
      <vt:lpstr>Наиболее пострадавшие отрасли  (108 886 субъектов МСП)</vt:lpstr>
      <vt:lpstr>Субсидия на оплату труда работникам и иные нужд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ймы промышленным предприятиям</vt:lpstr>
      <vt:lpstr>Презентация PowerPoint</vt:lpstr>
      <vt:lpstr>Презентация PowerPoint</vt:lpstr>
      <vt:lpstr>Возмещение затрат на создание объектов инженерной инфраструктуры</vt:lpstr>
      <vt:lpstr>Презентация PowerPoint</vt:lpstr>
      <vt:lpstr>Иные меры поддержки </vt:lpstr>
      <vt:lpstr>Презентация PowerPoint</vt:lpstr>
      <vt:lpstr>Презентация PowerPoint</vt:lpstr>
      <vt:lpstr>Меры поддержки Самозанятых (НОВОЕ)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иемная Егоровой Н.К.</dc:creator>
  <cp:lastModifiedBy>Лисятникова Людмила Леонидовна</cp:lastModifiedBy>
  <cp:revision>204</cp:revision>
  <cp:lastPrinted>2020-05-14T13:27:13Z</cp:lastPrinted>
  <dcterms:modified xsi:type="dcterms:W3CDTF">2020-05-15T10:01:37Z</dcterms:modified>
</cp:coreProperties>
</file>